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308" r:id="rId2"/>
    <p:sldId id="314" r:id="rId3"/>
    <p:sldId id="315" r:id="rId4"/>
    <p:sldId id="316" r:id="rId5"/>
    <p:sldId id="317" r:id="rId6"/>
    <p:sldId id="318" r:id="rId7"/>
    <p:sldId id="319" r:id="rId8"/>
    <p:sldId id="320" r:id="rId9"/>
    <p:sldId id="321" r:id="rId10"/>
    <p:sldId id="322" r:id="rId11"/>
    <p:sldId id="323" r:id="rId12"/>
    <p:sldId id="324" r:id="rId13"/>
    <p:sldId id="325" r:id="rId14"/>
  </p:sldIdLst>
  <p:sldSz cx="12192000" cy="6858000"/>
  <p:notesSz cx="7004050" cy="9290050"/>
  <p:custDataLst>
    <p:tags r:id="rId17"/>
  </p:custDataLst>
  <p:defaultTextStyle>
    <a:defPPr>
      <a:defRPr lang="en-ZA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1B4291"/>
    <a:srgbClr val="1D489F"/>
    <a:srgbClr val="1F4EA9"/>
    <a:srgbClr val="FFD400"/>
    <a:srgbClr val="BF9000"/>
    <a:srgbClr val="CC3300"/>
    <a:srgbClr val="FFCC72"/>
    <a:srgbClr val="F6B5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0" d="100"/>
          <a:sy n="80" d="100"/>
        </p:scale>
        <p:origin x="136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67163" y="0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178E8B5B-194D-453A-AC11-87B6787837D9}" type="datetimeFigureOut">
              <a:rPr lang="en-ZA"/>
              <a:pPr>
                <a:defRPr/>
              </a:pPr>
              <a:t>2021/07/22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3325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67163" y="8823325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F253EE33-B624-49A1-93A7-15C7F10F0E7D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39392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7163" y="0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DDFF54EA-EF07-415D-896B-D95C17C67A9E}" type="datetimeFigureOut">
              <a:rPr lang="en-ZA"/>
              <a:pPr>
                <a:defRPr/>
              </a:pPr>
              <a:t>2021/07/22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1250" cy="3482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ZA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0088" y="4413250"/>
            <a:ext cx="5603875" cy="417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altLang="en-US"/>
              <a:t>Click to edit Master text styles</a:t>
            </a:r>
          </a:p>
          <a:p>
            <a:pPr lvl="1"/>
            <a:r>
              <a:rPr lang="en-ZA" altLang="en-US"/>
              <a:t>Second level</a:t>
            </a:r>
          </a:p>
          <a:p>
            <a:pPr lvl="2"/>
            <a:r>
              <a:rPr lang="en-ZA" altLang="en-US"/>
              <a:t>Third level</a:t>
            </a:r>
          </a:p>
          <a:p>
            <a:pPr lvl="3"/>
            <a:r>
              <a:rPr lang="en-ZA" altLang="en-US"/>
              <a:t>Fourth level</a:t>
            </a:r>
          </a:p>
          <a:p>
            <a:pPr lvl="4"/>
            <a:r>
              <a:rPr lang="en-ZA" alt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3325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7163" y="8823325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873C78D9-C3C1-44CE-BBD0-14C467936D4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328081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174625"/>
            <a:ext cx="12192000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9" name="Rectangle 8"/>
          <p:cNvSpPr/>
          <p:nvPr/>
        </p:nvSpPr>
        <p:spPr>
          <a:xfrm>
            <a:off x="0" y="53975"/>
            <a:ext cx="12192000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60E9EC4-ABEF-4F05-BB51-71A0B5AF4E78}" type="datetimeFigureOut">
              <a:rPr lang="en-US"/>
              <a:pPr>
                <a:defRPr/>
              </a:pPr>
              <a:t>7/22/2021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C5E72FF7-17D1-49CE-B264-3C5316C2AD8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0613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pic>
        <p:nvPicPr>
          <p:cNvPr id="7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B9C665B-F083-4435-AA27-EEB4DCE974D3}" type="datetimeFigureOut">
              <a:rPr lang="en-US"/>
              <a:pPr>
                <a:defRPr/>
              </a:pPr>
              <a:t>7/22/2021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FF67ED3-0A16-4512-B288-11133FD98B5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5223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pic>
        <p:nvPicPr>
          <p:cNvPr id="7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F33B96E-E7EF-4FC2-A388-8C5453DD8522}" type="datetimeFigureOut">
              <a:rPr lang="en-US"/>
              <a:pPr>
                <a:defRPr/>
              </a:pPr>
              <a:t>7/22/2021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1F69502-4FE7-4669-B921-8750C547314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11073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>
            <a:extLst>
              <a:ext uri="{FF2B5EF4-FFF2-40B4-BE49-F238E27FC236}">
                <a16:creationId xmlns:a16="http://schemas.microsoft.com/office/drawing/2014/main" id="{74A997BD-A04A-4B08-A4A8-F7A22440416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70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91440" tIns="45720" rIns="91440" bIns="45720" anchor="ctr" anchorCtr="0">
            <a:normAutofit/>
          </a:bodyPr>
          <a:lstStyle>
            <a:lvl1pPr algn="l">
              <a:defRPr sz="3200" b="0" i="0" u="none" cap="none" baseline="0">
                <a:solidFill>
                  <a:srgbClr val="FF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9755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174625"/>
            <a:ext cx="12192000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9" name="Rectangle 8"/>
          <p:cNvSpPr/>
          <p:nvPr/>
        </p:nvSpPr>
        <p:spPr>
          <a:xfrm>
            <a:off x="0" y="53975"/>
            <a:ext cx="12192000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2F9B81A-45B2-4DF9-AFBC-F61A33F80B9E}" type="datetimeFigureOut">
              <a:rPr lang="en-US"/>
              <a:pPr>
                <a:defRPr/>
              </a:pPr>
              <a:t>7/22/2021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2EA328C-DC9E-4C0B-B345-AC00F87FE16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6426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174625"/>
            <a:ext cx="12192000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9" name="Rectangle 8"/>
          <p:cNvSpPr/>
          <p:nvPr/>
        </p:nvSpPr>
        <p:spPr>
          <a:xfrm>
            <a:off x="0" y="53975"/>
            <a:ext cx="12192000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F64B59E-EFF2-400B-B4FD-4169960C78E7}" type="datetimeFigureOut">
              <a:rPr lang="en-US"/>
              <a:pPr>
                <a:defRPr/>
              </a:pPr>
              <a:t>7/22/2021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68445F1-DE3A-4750-94F4-728441A0CF4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0938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74625"/>
            <a:ext cx="12192000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10" name="Rectangle 9"/>
          <p:cNvSpPr/>
          <p:nvPr/>
        </p:nvSpPr>
        <p:spPr>
          <a:xfrm>
            <a:off x="0" y="53975"/>
            <a:ext cx="12192000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F3CCB44-E678-4BF9-8E77-8243FCD38451}" type="datetimeFigureOut">
              <a:rPr lang="en-US"/>
              <a:pPr>
                <a:defRPr/>
              </a:pPr>
              <a:t>7/22/2021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8AF87D5-5C1C-44C5-84DC-2D200797D2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5746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174625"/>
            <a:ext cx="12192000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12" name="Rectangle 11"/>
          <p:cNvSpPr/>
          <p:nvPr/>
        </p:nvSpPr>
        <p:spPr>
          <a:xfrm>
            <a:off x="0" y="53975"/>
            <a:ext cx="12192000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BD5F02F-3CA8-4FA1-BB4B-1DC371DC7579}" type="datetimeFigureOut">
              <a:rPr lang="en-US"/>
              <a:pPr>
                <a:defRPr/>
              </a:pPr>
              <a:t>7/22/2021</a:t>
            </a:fld>
            <a:endParaRPr lang="en-US"/>
          </a:p>
        </p:txBody>
      </p:sp>
      <p:sp>
        <p:nvSpPr>
          <p:cNvPr id="14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6ECD7C3-C976-450E-8A11-9E509B627D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5550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174625"/>
            <a:ext cx="12192000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8" name="Rectangle 7"/>
          <p:cNvSpPr/>
          <p:nvPr/>
        </p:nvSpPr>
        <p:spPr>
          <a:xfrm>
            <a:off x="0" y="53975"/>
            <a:ext cx="12192000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7CB16E3-0097-4C64-889C-9F5BE75DC934}" type="datetimeFigureOut">
              <a:rPr lang="en-US"/>
              <a:pPr>
                <a:defRPr/>
              </a:pPr>
              <a:t>7/22/2021</a:t>
            </a:fld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8C86844-CD75-415D-A9F4-635AB012B7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53855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pic>
        <p:nvPicPr>
          <p:cNvPr id="5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196FCBC-4C9A-49D0-A6AD-5922DC0021D2}" type="datetimeFigureOut">
              <a:rPr lang="en-US"/>
              <a:pPr>
                <a:defRPr/>
              </a:pPr>
              <a:t>7/22/2021</a:t>
            </a:fld>
            <a:endParaRPr lang="en-US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79E089C-E7C7-4F41-974E-E387474A729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4885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pic>
        <p:nvPicPr>
          <p:cNvPr id="8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97430DF-D422-4A6D-AE7F-815F939B6C4F}" type="datetimeFigureOut">
              <a:rPr lang="en-US"/>
              <a:pPr>
                <a:defRPr/>
              </a:pPr>
              <a:t>7/22/2021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C5835C7-8C27-4810-9B30-4B14DABA24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6007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pic>
        <p:nvPicPr>
          <p:cNvPr id="8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727E172-43B0-4FB8-A9F0-B7F3E6798C54}" type="datetimeFigureOut">
              <a:rPr lang="en-US"/>
              <a:pPr>
                <a:defRPr/>
              </a:pPr>
              <a:t>7/22/2021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2B53026-3D16-4EC2-930E-6269B64D804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407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0" imgH="469" progId="TCLayout.ActiveDocument.1">
                  <p:embed/>
                </p:oleObj>
              </mc:Choice>
              <mc:Fallback>
                <p:oleObj name="think-cell Slide" r:id="rId16" imgW="470" imgH="469" progId="TCLayout.ActiveDocument.1">
                  <p:embed/>
                  <p:pic>
                    <p:nvPicPr>
                      <p:cNvPr id="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pic>
        <p:nvPicPr>
          <p:cNvPr id="1029" name="Picture 13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14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5" r:id="rId12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6" Type="http://schemas.openxmlformats.org/officeDocument/2006/relationships/image" Target="../media/image17.jpg"/><Relationship Id="rId5" Type="http://schemas.openxmlformats.org/officeDocument/2006/relationships/image" Target="../media/image16.jp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9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8.JP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3917729"/>
              </p:ext>
            </p:ext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464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Lead Processing</a:t>
            </a:r>
          </a:p>
        </p:txBody>
      </p:sp>
      <p:pic>
        <p:nvPicPr>
          <p:cNvPr id="3" name="Picture 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105A7FF-6FA4-4373-B31A-A66EA18C75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6975" y="1460399"/>
            <a:ext cx="8738049" cy="3937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3000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2737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Customer COC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F1666D-19A4-4DCA-8CBD-D4D76CB2B736}"/>
              </a:ext>
            </a:extLst>
          </p:cNvPr>
          <p:cNvSpPr txBox="1"/>
          <p:nvPr/>
        </p:nvSpPr>
        <p:spPr>
          <a:xfrm>
            <a:off x="3781425" y="1066800"/>
            <a:ext cx="40576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stallation Start and Finish 2/27/2021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4F5423-9CC5-4E99-B952-DA0160264D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79424" y="934389"/>
            <a:ext cx="5033152" cy="5780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5616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083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After Pics</a:t>
            </a:r>
          </a:p>
        </p:txBody>
      </p:sp>
      <p:pic>
        <p:nvPicPr>
          <p:cNvPr id="3" name="Picture 2" descr="A picture containing indoor, wall, floor, ceiling&#10;&#10;Description automatically generated">
            <a:extLst>
              <a:ext uri="{FF2B5EF4-FFF2-40B4-BE49-F238E27FC236}">
                <a16:creationId xmlns:a16="http://schemas.microsoft.com/office/drawing/2014/main" id="{B49ED147-7695-4982-83B7-CC833A01FE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125" y="790576"/>
            <a:ext cx="5019675" cy="5859097"/>
          </a:xfrm>
          <a:prstGeom prst="rect">
            <a:avLst/>
          </a:prstGeom>
        </p:spPr>
      </p:pic>
      <p:pic>
        <p:nvPicPr>
          <p:cNvPr id="6" name="Picture 5" descr="A picture containing wall, indoor, bathroom, floor&#10;&#10;Description automatically generated">
            <a:extLst>
              <a:ext uri="{FF2B5EF4-FFF2-40B4-BE49-F238E27FC236}">
                <a16:creationId xmlns:a16="http://schemas.microsoft.com/office/drawing/2014/main" id="{96E714D9-734E-495B-80C0-1474CA8AAE1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375" y="790577"/>
            <a:ext cx="5143500" cy="5859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711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083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Payment Receive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349738D-3417-4D44-A17D-05BB2FB7F2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66900" y="1023937"/>
            <a:ext cx="8458200" cy="5286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8452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083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Reconciled Job Break Dow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2C8BB9-4E09-4C1F-B2D8-88C23F8E9F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" y="2100262"/>
            <a:ext cx="10972800" cy="265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4720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464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Lead to Scheduled</a:t>
            </a:r>
          </a:p>
        </p:txBody>
      </p:sp>
      <p:pic>
        <p:nvPicPr>
          <p:cNvPr id="4" name="Picture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DEB4225-FA03-45F2-8E1E-72302EA2C2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5925" y="1200150"/>
            <a:ext cx="8486775" cy="5095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3037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464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Before Pictures</a:t>
            </a:r>
          </a:p>
        </p:txBody>
      </p:sp>
      <p:pic>
        <p:nvPicPr>
          <p:cNvPr id="3" name="Picture 2" descr="A picture containing indoor, floor, bathroom, toilet&#10;&#10;Description automatically generated">
            <a:extLst>
              <a:ext uri="{FF2B5EF4-FFF2-40B4-BE49-F238E27FC236}">
                <a16:creationId xmlns:a16="http://schemas.microsoft.com/office/drawing/2014/main" id="{4AAD980C-1FCA-4B72-BE6B-C5324585DDB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762" y="771526"/>
            <a:ext cx="4989513" cy="5753099"/>
          </a:xfrm>
          <a:prstGeom prst="rect">
            <a:avLst/>
          </a:prstGeom>
        </p:spPr>
      </p:pic>
      <p:pic>
        <p:nvPicPr>
          <p:cNvPr id="6" name="Picture 5" descr="A bathtub in a wooden room&#10;&#10;Description automatically generated with low confidence">
            <a:extLst>
              <a:ext uri="{FF2B5EF4-FFF2-40B4-BE49-F238E27FC236}">
                <a16:creationId xmlns:a16="http://schemas.microsoft.com/office/drawing/2014/main" id="{E8F0F11D-2607-4638-8930-D82CF966BF7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2724" y="771527"/>
            <a:ext cx="4989513" cy="5753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3463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464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In Home Drawing and Estimator</a:t>
            </a:r>
          </a:p>
        </p:txBody>
      </p:sp>
      <p:pic>
        <p:nvPicPr>
          <p:cNvPr id="4" name="Picture 3" descr="A picture containing text, whiteboard&#10;&#10;Description automatically generated">
            <a:extLst>
              <a:ext uri="{FF2B5EF4-FFF2-40B4-BE49-F238E27FC236}">
                <a16:creationId xmlns:a16="http://schemas.microsoft.com/office/drawing/2014/main" id="{CA575BD7-FB37-4368-9E26-3B0605ACDA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" y="847727"/>
            <a:ext cx="4371975" cy="5695948"/>
          </a:xfrm>
          <a:prstGeom prst="rect">
            <a:avLst/>
          </a:prstGeom>
        </p:spPr>
      </p:pic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83FCE221-2D38-479B-8005-F4A4377D067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5669435"/>
              </p:ext>
            </p:extLst>
          </p:nvPr>
        </p:nvGraphicFramePr>
        <p:xfrm>
          <a:off x="5638800" y="1257299"/>
          <a:ext cx="5905500" cy="50466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12210939" imgH="4629348" progId="Excel.Sheet.12">
                  <p:embed/>
                </p:oleObj>
              </mc:Choice>
              <mc:Fallback>
                <p:oleObj name="Worksheet" r:id="rId6" imgW="12210939" imgH="462934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638800" y="1257299"/>
                        <a:ext cx="5905500" cy="50466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49FE546-0921-47F3-9FF8-F8635B3147DA}"/>
              </a:ext>
            </a:extLst>
          </p:cNvPr>
          <p:cNvSpPr txBox="1"/>
          <p:nvPr/>
        </p:nvSpPr>
        <p:spPr>
          <a:xfrm>
            <a:off x="7105650" y="737847"/>
            <a:ext cx="2971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lease Double Click to View</a:t>
            </a:r>
          </a:p>
        </p:txBody>
      </p:sp>
    </p:spTree>
    <p:extLst>
      <p:ext uri="{BB962C8B-B14F-4D97-AF65-F5344CB8AC3E}">
        <p14:creationId xmlns:p14="http://schemas.microsoft.com/office/powerpoint/2010/main" val="30740902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464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Signed Contract Hay</a:t>
            </a: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4AD613F5-D436-45F1-8827-1A0F018B140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13138119"/>
              </p:ext>
            </p:extLst>
          </p:nvPr>
        </p:nvGraphicFramePr>
        <p:xfrm>
          <a:off x="3567112" y="828675"/>
          <a:ext cx="5057775" cy="5867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5" imgW="3886052" imgH="5028936" progId="AcroExch.Document.DC">
                  <p:embed/>
                </p:oleObj>
              </mc:Choice>
              <mc:Fallback>
                <p:oleObj name="Acrobat Document" r:id="rId5" imgW="3886052" imgH="5028936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567112" y="828675"/>
                        <a:ext cx="5057775" cy="5867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83753C35-B9EE-490F-A1D8-569F93E1CBAF}"/>
              </a:ext>
            </a:extLst>
          </p:cNvPr>
          <p:cNvSpPr txBox="1"/>
          <p:nvPr/>
        </p:nvSpPr>
        <p:spPr>
          <a:xfrm>
            <a:off x="266701" y="1543050"/>
            <a:ext cx="2971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lease Double Click to View</a:t>
            </a:r>
          </a:p>
        </p:txBody>
      </p:sp>
    </p:spTree>
    <p:extLst>
      <p:ext uri="{BB962C8B-B14F-4D97-AF65-F5344CB8AC3E}">
        <p14:creationId xmlns:p14="http://schemas.microsoft.com/office/powerpoint/2010/main" val="4679428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464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Scope and Product Order Shee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03A3414-07D7-4368-846A-F248648BA0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05175" y="810854"/>
            <a:ext cx="5581650" cy="5800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2166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464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Order Place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74AF34-3DE9-453B-B00D-736EDEC791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583422"/>
            <a:ext cx="12192000" cy="369115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CF1666D-19A4-4DCA-8CBD-D4D76CB2B736}"/>
              </a:ext>
            </a:extLst>
          </p:cNvPr>
          <p:cNvSpPr txBox="1"/>
          <p:nvPr/>
        </p:nvSpPr>
        <p:spPr>
          <a:xfrm>
            <a:off x="3819525" y="1076325"/>
            <a:ext cx="37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BCI Order Delivered 2/20/21.</a:t>
            </a:r>
          </a:p>
        </p:txBody>
      </p:sp>
    </p:spTree>
    <p:extLst>
      <p:ext uri="{BB962C8B-B14F-4D97-AF65-F5344CB8AC3E}">
        <p14:creationId xmlns:p14="http://schemas.microsoft.com/office/powerpoint/2010/main" val="4314094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464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Order Place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F1666D-19A4-4DCA-8CBD-D4D76CB2B736}"/>
              </a:ext>
            </a:extLst>
          </p:cNvPr>
          <p:cNvSpPr txBox="1"/>
          <p:nvPr/>
        </p:nvSpPr>
        <p:spPr>
          <a:xfrm>
            <a:off x="3819525" y="1076325"/>
            <a:ext cx="37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HD Order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1382E73-CB29-499C-9C4F-98AD6459C7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33512" y="2190750"/>
            <a:ext cx="9324975" cy="247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5027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464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Project Star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F1666D-19A4-4DCA-8CBD-D4D76CB2B736}"/>
              </a:ext>
            </a:extLst>
          </p:cNvPr>
          <p:cNvSpPr txBox="1"/>
          <p:nvPr/>
        </p:nvSpPr>
        <p:spPr>
          <a:xfrm>
            <a:off x="3781425" y="1066800"/>
            <a:ext cx="40576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stallation Start and Finish 2/27/2021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839F02-775A-4D54-B371-0A1A671E9A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81337" y="1600200"/>
            <a:ext cx="5629275" cy="4743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4442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1D&quot; g=&quot;48&quot; b=&quot;9F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heme/theme1.xml><?xml version="1.0" encoding="utf-8"?>
<a:theme xmlns:a="http://schemas.openxmlformats.org/drawingml/2006/main" name="Incredible Presentation 10.07.202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credible Presentation 10.07.2020</Template>
  <TotalTime>12203</TotalTime>
  <Words>168</Words>
  <Application>Microsoft Office PowerPoint</Application>
  <PresentationFormat>Widescreen</PresentationFormat>
  <Paragraphs>19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Yu Gothic</vt:lpstr>
      <vt:lpstr>Arial</vt:lpstr>
      <vt:lpstr>Calibri</vt:lpstr>
      <vt:lpstr>Calibri Light</vt:lpstr>
      <vt:lpstr>Incredible Presentation 10.07.2020</vt:lpstr>
      <vt:lpstr>think-cell Slide</vt:lpstr>
      <vt:lpstr>Worksheet</vt:lpstr>
      <vt:lpstr>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ist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eters, Ryan</dc:creator>
  <cp:lastModifiedBy>Dwain Ellis</cp:lastModifiedBy>
  <cp:revision>143</cp:revision>
  <cp:lastPrinted>2020-06-25T19:13:08Z</cp:lastPrinted>
  <dcterms:created xsi:type="dcterms:W3CDTF">2020-07-13T15:10:16Z</dcterms:created>
  <dcterms:modified xsi:type="dcterms:W3CDTF">2021-07-22T16:39:04Z</dcterms:modified>
</cp:coreProperties>
</file>